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2" r:id="rId2"/>
    <p:sldMasterId id="2147483675" r:id="rId3"/>
  </p:sldMasterIdLst>
  <p:sldIdLst>
    <p:sldId id="5112" r:id="rId4"/>
    <p:sldId id="5113" r:id="rId5"/>
    <p:sldId id="5118" r:id="rId6"/>
    <p:sldId id="5124" r:id="rId7"/>
    <p:sldId id="5114" r:id="rId8"/>
    <p:sldId id="5115" r:id="rId9"/>
    <p:sldId id="5116" r:id="rId10"/>
    <p:sldId id="5117" r:id="rId11"/>
    <p:sldId id="5120" r:id="rId12"/>
    <p:sldId id="5122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DCE7666-9991-4860-B28D-9A0217D53667}" v="11" dt="2023-08-18T17:00:57.12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21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microsoft.com/office/2016/11/relationships/changesInfo" Target="changesInfos/changesInfo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microsoft.com/office/2015/10/relationships/revisionInfo" Target="revisionInfo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icky Singh" userId="32f22e34-c9b6-4cdd-abb5-946b330f29fd" providerId="ADAL" clId="{ADCE7666-9991-4860-B28D-9A0217D53667}"/>
    <pc:docChg chg="undo custSel addSld delSld modSld sldOrd">
      <pc:chgData name="Ricky Singh" userId="32f22e34-c9b6-4cdd-abb5-946b330f29fd" providerId="ADAL" clId="{ADCE7666-9991-4860-B28D-9A0217D53667}" dt="2023-08-28T22:53:22.299" v="864" actId="20577"/>
      <pc:docMkLst>
        <pc:docMk/>
      </pc:docMkLst>
      <pc:sldChg chg="addSp delSp modSp mod ord">
        <pc:chgData name="Ricky Singh" userId="32f22e34-c9b6-4cdd-abb5-946b330f29fd" providerId="ADAL" clId="{ADCE7666-9991-4860-B28D-9A0217D53667}" dt="2023-08-16T21:01:35.902" v="24"/>
        <pc:sldMkLst>
          <pc:docMk/>
          <pc:sldMk cId="399235337" sldId="5118"/>
        </pc:sldMkLst>
        <pc:spChg chg="mod">
          <ac:chgData name="Ricky Singh" userId="32f22e34-c9b6-4cdd-abb5-946b330f29fd" providerId="ADAL" clId="{ADCE7666-9991-4860-B28D-9A0217D53667}" dt="2023-08-16T21:01:19.876" v="22" actId="14100"/>
          <ac:spMkLst>
            <pc:docMk/>
            <pc:sldMk cId="399235337" sldId="5118"/>
            <ac:spMk id="5" creationId="{68F70E76-07C1-7345-EC98-52E7521E9154}"/>
          </ac:spMkLst>
        </pc:spChg>
        <pc:picChg chg="del">
          <ac:chgData name="Ricky Singh" userId="32f22e34-c9b6-4cdd-abb5-946b330f29fd" providerId="ADAL" clId="{ADCE7666-9991-4860-B28D-9A0217D53667}" dt="2023-08-16T21:00:49.245" v="0" actId="478"/>
          <ac:picMkLst>
            <pc:docMk/>
            <pc:sldMk cId="399235337" sldId="5118"/>
            <ac:picMk id="3" creationId="{B1F5C824-1208-589D-36F1-A4621CBE8B75}"/>
          </ac:picMkLst>
        </pc:picChg>
        <pc:picChg chg="add mod">
          <ac:chgData name="Ricky Singh" userId="32f22e34-c9b6-4cdd-abb5-946b330f29fd" providerId="ADAL" clId="{ADCE7666-9991-4860-B28D-9A0217D53667}" dt="2023-08-16T21:00:59.307" v="2" actId="14100"/>
          <ac:picMkLst>
            <pc:docMk/>
            <pc:sldMk cId="399235337" sldId="5118"/>
            <ac:picMk id="4" creationId="{C3647464-7F93-746C-CE5E-72646B56D4E3}"/>
          </ac:picMkLst>
        </pc:picChg>
      </pc:sldChg>
      <pc:sldChg chg="modSp mod">
        <pc:chgData name="Ricky Singh" userId="32f22e34-c9b6-4cdd-abb5-946b330f29fd" providerId="ADAL" clId="{ADCE7666-9991-4860-B28D-9A0217D53667}" dt="2023-08-18T16:47:58.372" v="467" actId="1076"/>
        <pc:sldMkLst>
          <pc:docMk/>
          <pc:sldMk cId="42022187" sldId="5120"/>
        </pc:sldMkLst>
        <pc:spChg chg="mod">
          <ac:chgData name="Ricky Singh" userId="32f22e34-c9b6-4cdd-abb5-946b330f29fd" providerId="ADAL" clId="{ADCE7666-9991-4860-B28D-9A0217D53667}" dt="2023-08-18T16:45:15.438" v="289" actId="20577"/>
          <ac:spMkLst>
            <pc:docMk/>
            <pc:sldMk cId="42022187" sldId="5120"/>
            <ac:spMk id="3" creationId="{48521851-2F3F-C78E-6469-2B069532C09E}"/>
          </ac:spMkLst>
        </pc:spChg>
        <pc:graphicFrameChg chg="mod modGraphic">
          <ac:chgData name="Ricky Singh" userId="32f22e34-c9b6-4cdd-abb5-946b330f29fd" providerId="ADAL" clId="{ADCE7666-9991-4860-B28D-9A0217D53667}" dt="2023-08-18T16:47:58.372" v="467" actId="1076"/>
          <ac:graphicFrameMkLst>
            <pc:docMk/>
            <pc:sldMk cId="42022187" sldId="5120"/>
            <ac:graphicFrameMk id="5" creationId="{8A7B040E-5370-C9E4-040F-88A2254FB449}"/>
          </ac:graphicFrameMkLst>
        </pc:graphicFrameChg>
      </pc:sldChg>
      <pc:sldChg chg="modSp mod">
        <pc:chgData name="Ricky Singh" userId="32f22e34-c9b6-4cdd-abb5-946b330f29fd" providerId="ADAL" clId="{ADCE7666-9991-4860-B28D-9A0217D53667}" dt="2023-08-28T22:53:22.299" v="864" actId="20577"/>
        <pc:sldMkLst>
          <pc:docMk/>
          <pc:sldMk cId="4264053304" sldId="5122"/>
        </pc:sldMkLst>
        <pc:spChg chg="mod">
          <ac:chgData name="Ricky Singh" userId="32f22e34-c9b6-4cdd-abb5-946b330f29fd" providerId="ADAL" clId="{ADCE7666-9991-4860-B28D-9A0217D53667}" dt="2023-08-18T16:48:53.028" v="497" actId="20577"/>
          <ac:spMkLst>
            <pc:docMk/>
            <pc:sldMk cId="4264053304" sldId="5122"/>
            <ac:spMk id="3" creationId="{48521851-2F3F-C78E-6469-2B069532C09E}"/>
          </ac:spMkLst>
        </pc:spChg>
        <pc:graphicFrameChg chg="mod modGraphic">
          <ac:chgData name="Ricky Singh" userId="32f22e34-c9b6-4cdd-abb5-946b330f29fd" providerId="ADAL" clId="{ADCE7666-9991-4860-B28D-9A0217D53667}" dt="2023-08-28T22:53:22.299" v="864" actId="20577"/>
          <ac:graphicFrameMkLst>
            <pc:docMk/>
            <pc:sldMk cId="4264053304" sldId="5122"/>
            <ac:graphicFrameMk id="5" creationId="{8A7B040E-5370-C9E4-040F-88A2254FB449}"/>
          </ac:graphicFrameMkLst>
        </pc:graphicFrameChg>
      </pc:sldChg>
      <pc:sldChg chg="del">
        <pc:chgData name="Ricky Singh" userId="32f22e34-c9b6-4cdd-abb5-946b330f29fd" providerId="ADAL" clId="{ADCE7666-9991-4860-B28D-9A0217D53667}" dt="2023-08-16T21:04:57.190" v="127" actId="47"/>
        <pc:sldMkLst>
          <pc:docMk/>
          <pc:sldMk cId="1845492893" sldId="5123"/>
        </pc:sldMkLst>
      </pc:sldChg>
      <pc:sldChg chg="addSp delSp modSp add mod">
        <pc:chgData name="Ricky Singh" userId="32f22e34-c9b6-4cdd-abb5-946b330f29fd" providerId="ADAL" clId="{ADCE7666-9991-4860-B28D-9A0217D53667}" dt="2023-08-16T21:02:32.029" v="62" actId="14100"/>
        <pc:sldMkLst>
          <pc:docMk/>
          <pc:sldMk cId="2374510820" sldId="5124"/>
        </pc:sldMkLst>
        <pc:spChg chg="mod">
          <ac:chgData name="Ricky Singh" userId="32f22e34-c9b6-4cdd-abb5-946b330f29fd" providerId="ADAL" clId="{ADCE7666-9991-4860-B28D-9A0217D53667}" dt="2023-08-16T21:02:05.660" v="59" actId="14100"/>
          <ac:spMkLst>
            <pc:docMk/>
            <pc:sldMk cId="2374510820" sldId="5124"/>
            <ac:spMk id="5" creationId="{68F70E76-07C1-7345-EC98-52E7521E9154}"/>
          </ac:spMkLst>
        </pc:spChg>
        <pc:picChg chg="add mod">
          <ac:chgData name="Ricky Singh" userId="32f22e34-c9b6-4cdd-abb5-946b330f29fd" providerId="ADAL" clId="{ADCE7666-9991-4860-B28D-9A0217D53667}" dt="2023-08-16T21:02:32.029" v="62" actId="14100"/>
          <ac:picMkLst>
            <pc:docMk/>
            <pc:sldMk cId="2374510820" sldId="5124"/>
            <ac:picMk id="3" creationId="{12263966-4DF3-04A1-52EE-43BDDB87E419}"/>
          </ac:picMkLst>
        </pc:picChg>
        <pc:picChg chg="del">
          <ac:chgData name="Ricky Singh" userId="32f22e34-c9b6-4cdd-abb5-946b330f29fd" providerId="ADAL" clId="{ADCE7666-9991-4860-B28D-9A0217D53667}" dt="2023-08-16T21:02:25.348" v="60" actId="478"/>
          <ac:picMkLst>
            <pc:docMk/>
            <pc:sldMk cId="2374510820" sldId="5124"/>
            <ac:picMk id="4" creationId="{C3647464-7F93-746C-CE5E-72646B56D4E3}"/>
          </ac:picMkLst>
        </pc:pic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448800" y="6492880"/>
            <a:ext cx="2743200" cy="365125"/>
          </a:xfrm>
        </p:spPr>
        <p:txBody>
          <a:bodyPr/>
          <a:lstStyle/>
          <a:p>
            <a:fld id="{948F4189-209F-5B4D-9202-FE23054D3488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08FEAFF-CA14-BF44-87DB-D3927E9441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" y="2286000"/>
            <a:ext cx="12191999" cy="1143000"/>
          </a:xfrm>
          <a:prstGeom prst="rect">
            <a:avLst/>
          </a:prstGeom>
        </p:spPr>
        <p:txBody>
          <a:bodyPr anchor="b"/>
          <a:lstStyle>
            <a:lvl1pPr algn="ctr">
              <a:defRPr sz="4125" b="1" i="0">
                <a:solidFill>
                  <a:schemeClr val="bg1"/>
                </a:solidFill>
                <a:latin typeface="Avenir Next LT Pro" panose="020B0504020202020204" pitchFamily="34" charset="77"/>
              </a:defRPr>
            </a:lvl1pPr>
          </a:lstStyle>
          <a:p>
            <a:r>
              <a:rPr lang="en-US"/>
              <a:t>DIVIDER SLID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F8AF749D-2063-8E4C-80BE-7B4DBF370F0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" y="3511649"/>
            <a:ext cx="12191999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0" i="0">
                <a:solidFill>
                  <a:schemeClr val="bg1"/>
                </a:solidFill>
                <a:latin typeface="Avenir Next LT Pro" panose="020B0504020202020204" pitchFamily="34" charset="77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2292305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448800" y="6492876"/>
            <a:ext cx="2743200" cy="365125"/>
          </a:xfrm>
        </p:spPr>
        <p:txBody>
          <a:bodyPr/>
          <a:lstStyle/>
          <a:p>
            <a:fld id="{948F4189-209F-5B4D-9202-FE23054D3488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08FEAFF-CA14-BF44-87DB-D3927E9441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" y="2286000"/>
            <a:ext cx="12191999" cy="1143000"/>
          </a:xfrm>
          <a:prstGeom prst="rect">
            <a:avLst/>
          </a:prstGeom>
        </p:spPr>
        <p:txBody>
          <a:bodyPr anchor="b"/>
          <a:lstStyle>
            <a:lvl1pPr algn="ctr">
              <a:defRPr sz="6000" b="1" i="0">
                <a:solidFill>
                  <a:schemeClr val="bg1"/>
                </a:solidFill>
                <a:latin typeface="Gill Sans MT" panose="020B0502020104020203" pitchFamily="34" charset="77"/>
                <a:cs typeface="Gill Sans" panose="020B0502020104020203" pitchFamily="34" charset="-79"/>
              </a:defRPr>
            </a:lvl1pPr>
          </a:lstStyle>
          <a:p>
            <a:r>
              <a:rPr lang="en-US"/>
              <a:t>DIVIDER SLID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F8AF749D-2063-8E4C-80BE-7B4DBF370F0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-1" y="3511649"/>
            <a:ext cx="12191999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Gill Sans MT" panose="020B0502020104020203" pitchFamily="34" charset="77"/>
                <a:cs typeface="Gill Sans" panose="020B0502020104020203" pitchFamily="34" charset="-79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7596809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90042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448800" y="6492876"/>
            <a:ext cx="2743200" cy="365125"/>
          </a:xfrm>
        </p:spPr>
        <p:txBody>
          <a:bodyPr/>
          <a:lstStyle/>
          <a:p>
            <a:fld id="{948F4189-209F-5B4D-9202-FE23054D348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0BA660E9-9E0F-0A44-86BA-7BEF37F4425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7801" y="90777"/>
            <a:ext cx="11762409" cy="9342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Avenir Next LT Pro" panose="020B0504020202020204" pitchFamily="34" charset="77"/>
              </a:defRPr>
            </a:lvl1pPr>
          </a:lstStyle>
          <a:p>
            <a:pPr lvl="0"/>
            <a:r>
              <a:rPr lang="en-US"/>
              <a:t>ENTER HEADER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09C789F3-4E3F-FB4E-A323-B75E9D83A2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5001" y="1306581"/>
            <a:ext cx="5549900" cy="3105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Avenir Next LT Pro" panose="020B0504020202020204" pitchFamily="34" charset="77"/>
              </a:defRPr>
            </a:lvl1pPr>
          </a:lstStyle>
          <a:p>
            <a:pPr lvl="0"/>
            <a:r>
              <a:rPr lang="en-US"/>
              <a:t>Enter copy...</a:t>
            </a:r>
          </a:p>
        </p:txBody>
      </p:sp>
    </p:spTree>
    <p:extLst>
      <p:ext uri="{BB962C8B-B14F-4D97-AF65-F5344CB8AC3E}">
        <p14:creationId xmlns:p14="http://schemas.microsoft.com/office/powerpoint/2010/main" val="13221171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448800" y="6492880"/>
            <a:ext cx="2743200" cy="365125"/>
          </a:xfrm>
        </p:spPr>
        <p:txBody>
          <a:bodyPr/>
          <a:lstStyle/>
          <a:p>
            <a:fld id="{948F4189-209F-5B4D-9202-FE23054D3488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08FEAFF-CA14-BF44-87DB-D3927E9441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" y="2286000"/>
            <a:ext cx="12191999" cy="1143000"/>
          </a:xfrm>
          <a:prstGeom prst="rect">
            <a:avLst/>
          </a:prstGeom>
        </p:spPr>
        <p:txBody>
          <a:bodyPr anchor="b"/>
          <a:lstStyle>
            <a:lvl1pPr algn="ctr">
              <a:defRPr sz="4125" b="1" i="0">
                <a:solidFill>
                  <a:schemeClr val="bg1"/>
                </a:solidFill>
                <a:latin typeface="Avenir Next LT Pro" panose="020B0504020202020204" pitchFamily="34" charset="77"/>
              </a:defRPr>
            </a:lvl1pPr>
          </a:lstStyle>
          <a:p>
            <a:r>
              <a:rPr lang="en-US"/>
              <a:t>DIVIDER SLID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F8AF749D-2063-8E4C-80BE-7B4DBF370F0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" y="3511649"/>
            <a:ext cx="12191999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0" i="0">
                <a:solidFill>
                  <a:schemeClr val="bg1"/>
                </a:solidFill>
                <a:latin typeface="Avenir Next LT Pro" panose="020B0504020202020204" pitchFamily="34" charset="77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2502106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ngle 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448800" y="6492880"/>
            <a:ext cx="2743200" cy="365125"/>
          </a:xfrm>
        </p:spPr>
        <p:txBody>
          <a:bodyPr/>
          <a:lstStyle>
            <a:lvl1pPr>
              <a:defRPr>
                <a:latin typeface="Avenir Next LT Pro" panose="020B0504020202020204" pitchFamily="34" charset="77"/>
              </a:defRPr>
            </a:lvl1pPr>
          </a:lstStyle>
          <a:p>
            <a:fld id="{948F4189-209F-5B4D-9202-FE23054D3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0BA660E9-9E0F-0A44-86BA-7BEF37F4425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5163" y="79512"/>
            <a:ext cx="11881679" cy="3416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solidFill>
                  <a:schemeClr val="bg1"/>
                </a:solidFill>
                <a:latin typeface="Avenir Next LT Pro" panose="020B0504020202020204" pitchFamily="34" charset="77"/>
              </a:defRPr>
            </a:lvl1pPr>
          </a:lstStyle>
          <a:p>
            <a:pPr lvl="0"/>
            <a:r>
              <a:rPr lang="en-US"/>
              <a:t>ENTER HEADER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09C789F3-4E3F-FB4E-A323-B75E9D83A2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5003" y="839442"/>
            <a:ext cx="5549900" cy="3416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latin typeface="Avenir Next LT Pro" panose="020B0504020202020204" pitchFamily="34" charset="77"/>
              </a:defRPr>
            </a:lvl1pPr>
          </a:lstStyle>
          <a:p>
            <a:pPr lvl="0"/>
            <a:r>
              <a:rPr lang="en-US"/>
              <a:t>Enter copy...</a:t>
            </a:r>
          </a:p>
        </p:txBody>
      </p:sp>
    </p:spTree>
    <p:extLst>
      <p:ext uri="{BB962C8B-B14F-4D97-AF65-F5344CB8AC3E}">
        <p14:creationId xmlns:p14="http://schemas.microsoft.com/office/powerpoint/2010/main" val="33749942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B6863B66-AD73-134A-85D9-5076C1CA13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448800" y="6492880"/>
            <a:ext cx="2743200" cy="365125"/>
          </a:xfrm>
        </p:spPr>
        <p:txBody>
          <a:bodyPr/>
          <a:lstStyle>
            <a:lvl1pPr>
              <a:defRPr>
                <a:latin typeface="Avenir Next LT Pro" panose="020B0504020202020204" pitchFamily="34" charset="77"/>
              </a:defRPr>
            </a:lvl1pPr>
          </a:lstStyle>
          <a:p>
            <a:fld id="{948F4189-209F-5B4D-9202-FE23054D3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0BA660E9-9E0F-0A44-86BA-7BEF37F4425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5163" y="79512"/>
            <a:ext cx="11881679" cy="3416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solidFill>
                  <a:schemeClr val="bg1"/>
                </a:solidFill>
                <a:latin typeface="Avenir Next LT Pro" panose="020B0504020202020204" pitchFamily="34" charset="77"/>
              </a:defRPr>
            </a:lvl1pPr>
          </a:lstStyle>
          <a:p>
            <a:pPr lvl="0"/>
            <a:r>
              <a:rPr lang="en-US"/>
              <a:t>ENTER HEADER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09C789F3-4E3F-FB4E-A323-B75E9D83A2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5003" y="839442"/>
            <a:ext cx="5549900" cy="3416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latin typeface="Avenir Next LT Pro" panose="020B0504020202020204" pitchFamily="34" charset="77"/>
              </a:defRPr>
            </a:lvl1pPr>
          </a:lstStyle>
          <a:p>
            <a:pPr lvl="0"/>
            <a:r>
              <a:rPr lang="en-US"/>
              <a:t>Enter copy...</a:t>
            </a:r>
          </a:p>
        </p:txBody>
      </p:sp>
    </p:spTree>
    <p:extLst>
      <p:ext uri="{BB962C8B-B14F-4D97-AF65-F5344CB8AC3E}">
        <p14:creationId xmlns:p14="http://schemas.microsoft.com/office/powerpoint/2010/main" val="14224907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448800" y="6492880"/>
            <a:ext cx="2743200" cy="365125"/>
          </a:xfrm>
        </p:spPr>
        <p:txBody>
          <a:bodyPr/>
          <a:lstStyle>
            <a:lvl1pPr>
              <a:defRPr>
                <a:latin typeface="Avenir Next LT Pro" panose="020B0504020202020204" pitchFamily="34" charset="77"/>
              </a:defRPr>
            </a:lvl1pPr>
          </a:lstStyle>
          <a:p>
            <a:fld id="{948F4189-209F-5B4D-9202-FE23054D3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0BA660E9-9E0F-0A44-86BA-7BEF37F4425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5163" y="79512"/>
            <a:ext cx="11881679" cy="3416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solidFill>
                  <a:schemeClr val="bg1"/>
                </a:solidFill>
                <a:latin typeface="Avenir Next LT Pro" panose="020B0504020202020204" pitchFamily="34" charset="77"/>
              </a:defRPr>
            </a:lvl1pPr>
          </a:lstStyle>
          <a:p>
            <a:pPr lvl="0"/>
            <a:r>
              <a:rPr lang="en-US"/>
              <a:t>ENTER HEADER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09C789F3-4E3F-FB4E-A323-B75E9D83A2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5003" y="839442"/>
            <a:ext cx="5549900" cy="3416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latin typeface="Avenir Next LT Pro" panose="020B0504020202020204" pitchFamily="34" charset="77"/>
              </a:defRPr>
            </a:lvl1pPr>
          </a:lstStyle>
          <a:p>
            <a:pPr lvl="0"/>
            <a:r>
              <a:rPr lang="en-US"/>
              <a:t>Enter copy..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8179EA-3A7B-FF4F-B0CD-0EC01E7C597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11428895" y="205408"/>
            <a:ext cx="753716" cy="753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89983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509064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2A09FAF-36FC-448E-890E-061F32680BA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75" b="0" i="0" baseline="0">
              <a:solidFill>
                <a:schemeClr val="tx1"/>
              </a:solidFill>
              <a:latin typeface="Georgia Pro Semibold" panose="02040702050405020303" pitchFamily="18" charset="0"/>
              <a:ea typeface="+mj-ea"/>
              <a:cs typeface="+mj-cs"/>
              <a:sym typeface="Georgia Pro Semibold" panose="02040702050405020303" pitchFamily="18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233259" y="234868"/>
            <a:ext cx="11725484" cy="38472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x-none" dirty="0"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 flipH="1">
            <a:off x="10658004" y="51835"/>
            <a:ext cx="1231563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520"/>
            <a:endParaRPr lang="x-none" sz="459" baseline="0" noProof="0">
              <a:solidFill>
                <a:schemeClr val="accent6"/>
              </a:solidFill>
              <a:latin typeface="Avenir Next LT Pro" panose="020B0504020202020204" pitchFamily="34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2234594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448800" y="6492876"/>
            <a:ext cx="2743200" cy="365125"/>
          </a:xfrm>
        </p:spPr>
        <p:txBody>
          <a:bodyPr/>
          <a:lstStyle/>
          <a:p>
            <a:fld id="{948F4189-209F-5B4D-9202-FE23054D348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0BA660E9-9E0F-0A44-86BA-7BEF37F4425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5161" y="79512"/>
            <a:ext cx="11881679" cy="476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 baseline="0">
                <a:solidFill>
                  <a:schemeClr val="bg1"/>
                </a:solidFill>
                <a:latin typeface="Avenir Next LT Pro" panose="020B0504020202020204" pitchFamily="34" charset="77"/>
              </a:defRPr>
            </a:lvl1pPr>
          </a:lstStyle>
          <a:p>
            <a:pPr lvl="0"/>
            <a:r>
              <a:rPr lang="en-US"/>
              <a:t>ENTER HEADER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09C789F3-4E3F-FB4E-A323-B75E9D83A2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5001" y="839442"/>
            <a:ext cx="5549900" cy="3105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 baseline="0">
                <a:latin typeface="Avenir Next LT Pro" panose="020B0504020202020204" pitchFamily="34" charset="77"/>
              </a:defRPr>
            </a:lvl1pPr>
          </a:lstStyle>
          <a:p>
            <a:pPr lvl="0"/>
            <a:r>
              <a:rPr lang="en-US"/>
              <a:t>Enter copy...</a:t>
            </a:r>
          </a:p>
        </p:txBody>
      </p:sp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9413EEDD-161D-2F44-8867-16B414D041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3439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448800" y="6492876"/>
            <a:ext cx="2743200" cy="365125"/>
          </a:xfrm>
        </p:spPr>
        <p:txBody>
          <a:bodyPr/>
          <a:lstStyle/>
          <a:p>
            <a:fld id="{948F4189-209F-5B4D-9202-FE23054D348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0BA660E9-9E0F-0A44-86BA-7BEF37F4425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5161" y="79512"/>
            <a:ext cx="11881679" cy="476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 baseline="0">
                <a:solidFill>
                  <a:schemeClr val="bg1"/>
                </a:solidFill>
                <a:latin typeface="Avenir Next LT Pro" panose="020B0504020202020204" pitchFamily="34" charset="77"/>
              </a:defRPr>
            </a:lvl1pPr>
          </a:lstStyle>
          <a:p>
            <a:pPr lvl="0"/>
            <a:r>
              <a:rPr lang="en-US"/>
              <a:t>ENTER HEADER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09C789F3-4E3F-FB4E-A323-B75E9D83A2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5001" y="839442"/>
            <a:ext cx="5549900" cy="3105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 baseline="0">
                <a:latin typeface="Avenir Next LT Pro" panose="020B0504020202020204" pitchFamily="34" charset="77"/>
              </a:defRPr>
            </a:lvl1pPr>
          </a:lstStyle>
          <a:p>
            <a:pPr lvl="0"/>
            <a:r>
              <a:rPr lang="en-US"/>
              <a:t>Enter copy...</a:t>
            </a:r>
          </a:p>
        </p:txBody>
      </p:sp>
      <p:pic>
        <p:nvPicPr>
          <p:cNvPr id="3" name="Picture 2" descr="A picture containing orange&#10;&#10;Description automatically generated">
            <a:extLst>
              <a:ext uri="{FF2B5EF4-FFF2-40B4-BE49-F238E27FC236}">
                <a16:creationId xmlns:a16="http://schemas.microsoft.com/office/drawing/2014/main" id="{1C42C79D-5BA5-3640-A069-1B81380D685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11328400" y="231912"/>
            <a:ext cx="863600" cy="64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29204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ngle 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448800" y="6492876"/>
            <a:ext cx="2743200" cy="365125"/>
          </a:xfrm>
        </p:spPr>
        <p:txBody>
          <a:bodyPr/>
          <a:lstStyle/>
          <a:p>
            <a:fld id="{948F4189-209F-5B4D-9202-FE23054D348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0BA660E9-9E0F-0A44-86BA-7BEF37F4425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5161" y="79512"/>
            <a:ext cx="11881679" cy="476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 baseline="0">
                <a:solidFill>
                  <a:schemeClr val="bg1"/>
                </a:solidFill>
                <a:latin typeface="Avenir Next LT Pro" panose="020B0504020202020204" pitchFamily="34" charset="77"/>
              </a:defRPr>
            </a:lvl1pPr>
          </a:lstStyle>
          <a:p>
            <a:pPr lvl="0"/>
            <a:r>
              <a:rPr lang="en-US"/>
              <a:t>ENTER HEADER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09C789F3-4E3F-FB4E-A323-B75E9D83A2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5001" y="839442"/>
            <a:ext cx="11401839" cy="5053358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 i="0" baseline="0">
                <a:latin typeface="Avenir Next LT Pro" panose="020B0504020202020204" pitchFamily="34" charset="77"/>
              </a:defRPr>
            </a:lvl1pPr>
          </a:lstStyle>
          <a:p>
            <a:pPr lvl="0"/>
            <a:r>
              <a:rPr lang="en-US"/>
              <a:t>Enter copy..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56611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B9C591-04C8-8E42-AD50-8A08428FCE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1FB878-B24B-C84C-A01D-27D31BCF86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C1D9AF-026F-9846-B095-98A183B304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4FE939-A0D8-DA4B-B667-6CC5E1DB9201}" type="datetimeFigureOut">
              <a:rPr lang="en-US" smtClean="0"/>
              <a:t>8/2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BE8CD4-1997-C744-AB24-9222480268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B9D9F5F-860F-CD40-8BC5-9EF4721CF4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A10CDE-F88D-C045-B803-410C6ABAD5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30320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ingle 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448800" y="6492876"/>
            <a:ext cx="2743200" cy="365125"/>
          </a:xfrm>
        </p:spPr>
        <p:txBody>
          <a:bodyPr/>
          <a:lstStyle/>
          <a:p>
            <a:fld id="{948F4189-209F-5B4D-9202-FE23054D348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0BA660E9-9E0F-0A44-86BA-7BEF37F4425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7802" y="29817"/>
            <a:ext cx="11491685" cy="476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/>
              <a:t>ENTER HEA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D464D13-7E78-42A1-97EF-A988D8128B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6099" y="748938"/>
            <a:ext cx="11123387" cy="3595235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Century Gothic" panose="020B0502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47122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in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448800" y="6492876"/>
            <a:ext cx="2743200" cy="365125"/>
          </a:xfrm>
        </p:spPr>
        <p:txBody>
          <a:bodyPr/>
          <a:lstStyle>
            <a:lvl1pPr>
              <a:defRPr b="0" i="0">
                <a:latin typeface="Gill Sans MT" panose="020B0502020104020203" pitchFamily="34" charset="77"/>
                <a:cs typeface="Gill Sans" panose="020B0502020104020203" pitchFamily="34" charset="-79"/>
              </a:defRPr>
            </a:lvl1pPr>
          </a:lstStyle>
          <a:p>
            <a:fld id="{948F4189-209F-5B4D-9202-FE23054D3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40E77C6-4A27-7E40-8E3A-8DDC952A59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5161" y="79512"/>
            <a:ext cx="11881679" cy="476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 baseline="0">
                <a:solidFill>
                  <a:schemeClr val="bg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pPr lvl="0"/>
            <a:r>
              <a:rPr lang="en-US"/>
              <a:t>ENTER HEADER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557D9838-F0B7-A442-8EE6-7A41D94DB7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5001" y="839442"/>
            <a:ext cx="5549900" cy="3105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 baseline="0"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pPr lvl="0"/>
            <a:r>
              <a:rPr lang="en-US"/>
              <a:t>Enter copy...</a:t>
            </a:r>
          </a:p>
        </p:txBody>
      </p:sp>
    </p:spTree>
    <p:extLst>
      <p:ext uri="{BB962C8B-B14F-4D97-AF65-F5344CB8AC3E}">
        <p14:creationId xmlns:p14="http://schemas.microsoft.com/office/powerpoint/2010/main" val="8854729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3351752"/>
            <a:ext cx="12192000" cy="830579"/>
          </a:xfrm>
          <a:prstGeom prst="rect">
            <a:avLst/>
          </a:prstGeom>
        </p:spPr>
        <p:txBody>
          <a:bodyPr anchor="t"/>
          <a:lstStyle>
            <a:lvl1pPr algn="ctr">
              <a:defRPr sz="5500" b="1" i="0">
                <a:solidFill>
                  <a:schemeClr val="bg1"/>
                </a:solidFill>
                <a:latin typeface="Gill Sans MT" panose="020B0502020104020203" pitchFamily="34" charset="77"/>
                <a:cs typeface="Gill Sans" panose="020B0502020104020203" pitchFamily="34" charset="-79"/>
              </a:defRPr>
            </a:lvl1pPr>
          </a:lstStyle>
          <a:p>
            <a:r>
              <a:rPr lang="en-US"/>
              <a:t>TITLE SLIDE HEADE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0" y="4207572"/>
            <a:ext cx="12192000" cy="47736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Gill Sans MT" panose="020B0502020104020203" pitchFamily="34" charset="77"/>
                <a:cs typeface="Gill Sans" panose="020B0502020104020203" pitchFamily="34" charset="-79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TITLE SLIDE SUBHEAD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EF17BC8-E096-1D4F-9B96-78165C3B48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6025198"/>
            <a:ext cx="12192000" cy="38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 b="0" i="0">
                <a:latin typeface="Gill Sans MT" panose="020B0502020104020203" pitchFamily="34" charset="77"/>
                <a:cs typeface="Gill Sans" panose="020B0502020104020203" pitchFamily="34" charset="-79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2559410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in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448800" y="6492876"/>
            <a:ext cx="2743200" cy="365125"/>
          </a:xfrm>
        </p:spPr>
        <p:txBody>
          <a:bodyPr/>
          <a:lstStyle>
            <a:lvl1pPr>
              <a:defRPr b="0" i="0">
                <a:latin typeface="Gill Sans MT" panose="020B0502020104020203" pitchFamily="34" charset="77"/>
              </a:defRPr>
            </a:lvl1pPr>
          </a:lstStyle>
          <a:p>
            <a:fld id="{948F4189-209F-5B4D-9202-FE23054D3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CD592EB-B81B-1048-B05C-C72AB60144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5161" y="79512"/>
            <a:ext cx="11881679" cy="476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 baseline="0">
                <a:solidFill>
                  <a:schemeClr val="bg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pPr lvl="0"/>
            <a:r>
              <a:rPr lang="en-US"/>
              <a:t>ENTER HEADER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26041E6F-5949-8C45-AED7-4E3E9379B6A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5001" y="839442"/>
            <a:ext cx="5549900" cy="3105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 baseline="0"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pPr lvl="0"/>
            <a:r>
              <a:rPr lang="en-US"/>
              <a:t>Enter copy...</a:t>
            </a:r>
          </a:p>
        </p:txBody>
      </p:sp>
    </p:spTree>
    <p:extLst>
      <p:ext uri="{BB962C8B-B14F-4D97-AF65-F5344CB8AC3E}">
        <p14:creationId xmlns:p14="http://schemas.microsoft.com/office/powerpoint/2010/main" val="40858474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image" Target="../media/image3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6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ags" Target="../tags/tag2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F982602-C44F-469B-A885-A15CD75F41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8993862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F982602-C44F-469B-A885-A15CD75F41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342B04BE-DAD1-B94D-9DE8-D50F560C7A8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9288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  <a:latin typeface="Avenir Next LT Pro" panose="020B0504020202020204" pitchFamily="34" charset="77"/>
              </a:defRPr>
            </a:lvl1pPr>
          </a:lstStyle>
          <a:p>
            <a:fld id="{948F4189-209F-5B4D-9202-FE23054D348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49523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bird&#10;&#10;Description automatically generated">
            <a:extLst>
              <a:ext uri="{FF2B5EF4-FFF2-40B4-BE49-F238E27FC236}">
                <a16:creationId xmlns:a16="http://schemas.microsoft.com/office/drawing/2014/main" id="{12C3F716-E861-AE4A-8280-2C9D2E8C97BF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9287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venir Next LT Pro" panose="020B0504020202020204" pitchFamily="34" charset="77"/>
              </a:defRPr>
            </a:lvl1pPr>
          </a:lstStyle>
          <a:p>
            <a:fld id="{948F4189-209F-5B4D-9202-FE23054D348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9874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91D034D-D55F-40FC-9A65-9FDE81B717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79353839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5" progId="TCLayout.ActiveDocument.1">
                  <p:embed/>
                </p:oleObj>
              </mc:Choice>
              <mc:Fallback>
                <p:oleObj name="think-cell Slide" r:id="rId7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91D034D-D55F-40FC-9A65-9FDE81B717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12C3F716-E861-AE4A-8280-2C9D2E8C97BF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9288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venir Book" panose="02000503020000020003" pitchFamily="2" charset="0"/>
              </a:defRPr>
            </a:lvl1pPr>
          </a:lstStyle>
          <a:p>
            <a:fld id="{948F4189-209F-5B4D-9202-FE23054D34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3D95DA6-6303-4D60-9B0E-D91DB23E13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6"/>
            <a:ext cx="10515600" cy="1128514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028383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C48CC9-5D03-4B64-9599-F3CADAA409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C48CC9-5D03-4B64-9599-F3CADAA409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E3B8EF7F-2777-4FB4-840F-C80F056B4A6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1" y="857251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  <a:defRPr/>
            </a:pPr>
            <a:endParaRPr lang="en-US" sz="1875" b="1">
              <a:solidFill>
                <a:srgbClr val="FFFFFF"/>
              </a:solidFill>
              <a:latin typeface="Avenir Next LT Pro" panose="020B05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DB9A3140-7E90-47F6-BBA3-D75F1895686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1524001" y="2420874"/>
            <a:ext cx="9091569" cy="857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anchor="t" anchorCtr="0">
            <a:noAutofit/>
          </a:bodyPr>
          <a:lstStyle/>
          <a:p>
            <a:r>
              <a:rPr lang="en-US" sz="4500">
                <a:latin typeface="Avenir Next LT Pro" panose="020B0504020202020204" pitchFamily="34" charset="0"/>
                <a:ea typeface="+mn-ea"/>
                <a:cs typeface="+mn-cs"/>
              </a:rPr>
              <a:t> New Test Kitchen</a:t>
            </a:r>
            <a:endParaRPr lang="en-US" sz="450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477AC7A-3610-A7A5-E66F-1BE726D7D1CE}"/>
              </a:ext>
            </a:extLst>
          </p:cNvPr>
          <p:cNvSpPr txBox="1"/>
          <p:nvPr/>
        </p:nvSpPr>
        <p:spPr>
          <a:xfrm>
            <a:off x="4374930" y="3579877"/>
            <a:ext cx="3389711" cy="738664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algn="ctr" defTabSz="457200"/>
            <a:r>
              <a:rPr lang="en-US" sz="2400" b="1">
                <a:solidFill>
                  <a:srgbClr val="FEFFFF"/>
                </a:solidFill>
                <a:latin typeface="Avenir Next LT Pro" panose="020B0504020202020204" pitchFamily="34" charset="0"/>
              </a:rPr>
              <a:t>Project Status Update</a:t>
            </a:r>
          </a:p>
          <a:p>
            <a:pPr algn="ctr" defTabSz="457200"/>
            <a:r>
              <a:rPr lang="en-US" b="1">
                <a:solidFill>
                  <a:srgbClr val="FEFFFF"/>
                </a:solidFill>
                <a:latin typeface="Avenir Next LT Pro"/>
              </a:rPr>
              <a:t>August  2023</a:t>
            </a:r>
          </a:p>
        </p:txBody>
      </p:sp>
    </p:spTree>
    <p:extLst>
      <p:ext uri="{BB962C8B-B14F-4D97-AF65-F5344CB8AC3E}">
        <p14:creationId xmlns:p14="http://schemas.microsoft.com/office/powerpoint/2010/main" val="32308821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9271D21-BD73-92B0-7E27-708AC7A65F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948F4189-209F-5B4D-9202-FE23054D3488}" type="slidenum">
              <a:rPr lang="en-US">
                <a:solidFill>
                  <a:srgbClr val="000000">
                    <a:tint val="75000"/>
                  </a:srgbClr>
                </a:solidFill>
              </a:rPr>
              <a:pPr defTabSz="457200"/>
              <a:t>10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521851-2F3F-C78E-6469-2B069532C09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91440" tIns="45720" rIns="91440" bIns="45720" anchor="t"/>
          <a:lstStyle/>
          <a:p>
            <a:r>
              <a:rPr lang="en-US" dirty="0">
                <a:latin typeface="Avenir Next LT Pro"/>
              </a:rPr>
              <a:t>Key Mitigations</a:t>
            </a:r>
            <a:endParaRPr lang="en-US" dirty="0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8A7B040E-5370-C9E4-040F-88A2254FB4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2579228"/>
              </p:ext>
            </p:extLst>
          </p:nvPr>
        </p:nvGraphicFramePr>
        <p:xfrm>
          <a:off x="2409742" y="1380719"/>
          <a:ext cx="7167073" cy="38687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99956">
                  <a:extLst>
                    <a:ext uri="{9D8B030D-6E8A-4147-A177-3AD203B41FA5}">
                      <a16:colId xmlns:a16="http://schemas.microsoft.com/office/drawing/2014/main" val="3401684006"/>
                    </a:ext>
                  </a:extLst>
                </a:gridCol>
                <a:gridCol w="2767117">
                  <a:extLst>
                    <a:ext uri="{9D8B030D-6E8A-4147-A177-3AD203B41FA5}">
                      <a16:colId xmlns:a16="http://schemas.microsoft.com/office/drawing/2014/main" val="4004689823"/>
                    </a:ext>
                  </a:extLst>
                </a:gridCol>
              </a:tblGrid>
              <a:tr h="485477">
                <a:tc>
                  <a:txBody>
                    <a:bodyPr/>
                    <a:lstStyle/>
                    <a:p>
                      <a:r>
                        <a:rPr lang="en-US" dirty="0"/>
                        <a:t>Issu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itig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1520789"/>
                  </a:ext>
                </a:extLst>
              </a:tr>
              <a:tr h="485477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dirty="0"/>
                        <a:t>One net loss of office near 3</a:t>
                      </a:r>
                      <a:r>
                        <a:rPr lang="en-US" baseline="30000" dirty="0"/>
                        <a:t>rd</a:t>
                      </a:r>
                      <a:r>
                        <a:rPr lang="en-US" dirty="0"/>
                        <a:t> floor we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dirty="0"/>
                        <a:t>Moves planned and execu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3002463"/>
                  </a:ext>
                </a:extLst>
              </a:tr>
              <a:tr h="485477">
                <a:tc>
                  <a:txBody>
                    <a:bodyPr/>
                    <a:lstStyle/>
                    <a:p>
                      <a:r>
                        <a:rPr lang="en-US" dirty="0"/>
                        <a:t>Some noise and dust (3</a:t>
                      </a:r>
                      <a:r>
                        <a:rPr lang="en-US" baseline="30000" dirty="0"/>
                        <a:t>rd</a:t>
                      </a:r>
                      <a:r>
                        <a:rPr lang="en-US" dirty="0"/>
                        <a:t> floor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Hotel </a:t>
                      </a:r>
                      <a:r>
                        <a:rPr lang="en-US" dirty="0"/>
                        <a:t>spaces </a:t>
                      </a:r>
                      <a:r>
                        <a:rPr lang="en-US"/>
                        <a:t>on 2</a:t>
                      </a:r>
                      <a:r>
                        <a:rPr lang="en-US" baseline="30000"/>
                        <a:t>nd</a:t>
                      </a:r>
                      <a:r>
                        <a:rPr lang="en-US"/>
                        <a:t> floor – Also some spaces on 4</a:t>
                      </a:r>
                      <a:r>
                        <a:rPr lang="en-US" baseline="30000"/>
                        <a:t>th</a:t>
                      </a:r>
                      <a:r>
                        <a:rPr lang="en-US"/>
                        <a:t> </a:t>
                      </a:r>
                      <a:r>
                        <a:rPr lang="en-US" dirty="0"/>
                        <a:t>floor – reserved on first come first serv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4906192"/>
                  </a:ext>
                </a:extLst>
              </a:tr>
              <a:tr h="48547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Cooking spaces will be limited (Galley Kitchen; Breakrooms only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dirty="0"/>
                        <a:t>Use alternate spac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9914935"/>
                  </a:ext>
                </a:extLst>
              </a:tr>
              <a:tr h="485477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dirty="0"/>
                        <a:t>Sensory approvals and Quality Tes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dirty="0"/>
                        <a:t>Use alternate spaces (Other breakrooms; Ricky's office; Jac's offic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2900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640533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9C4793D-1D4E-0AA9-5EB2-1D2A7A7759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948F4189-209F-5B4D-9202-FE23054D3488}" type="slidenum">
              <a:rPr lang="en-US">
                <a:solidFill>
                  <a:srgbClr val="000000">
                    <a:tint val="75000"/>
                  </a:srgbClr>
                </a:solidFill>
              </a:rPr>
              <a:pPr defTabSz="457200"/>
              <a:t>2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71AB32-E90D-3186-BC10-DADD68D49FC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91440" tIns="45720" rIns="91440" bIns="45720" anchor="t"/>
          <a:lstStyle/>
          <a:p>
            <a:r>
              <a:rPr lang="en-US">
                <a:latin typeface="Avenir Next LT Pro"/>
              </a:rPr>
              <a:t>Rationale for the Redesigned Kitchen and Sensory Areas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A2E626-71CA-6D1F-9747-1705D269AF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00250" y="839442"/>
            <a:ext cx="8115706" cy="4778944"/>
          </a:xfrm>
        </p:spPr>
        <p:txBody>
          <a:bodyPr lIns="91440" tIns="45720" rIns="91440" bIns="45720" anchor="t"/>
          <a:lstStyle/>
          <a:p>
            <a:pPr marL="342900">
              <a:lnSpc>
                <a:spcPct val="150000"/>
              </a:lnSpc>
              <a:buFont typeface="Wingdings" panose="020B0604020202020204" pitchFamily="34" charset="0"/>
              <a:buChar char="Ø"/>
            </a:pPr>
            <a:r>
              <a:rPr lang="en-US">
                <a:latin typeface="Avenir Next LT Pro"/>
              </a:rPr>
              <a:t>Test products the way consumers will prepare them</a:t>
            </a:r>
            <a:endParaRPr lang="en-US"/>
          </a:p>
          <a:p>
            <a:pPr marL="342900">
              <a:lnSpc>
                <a:spcPct val="150000"/>
              </a:lnSpc>
              <a:buFont typeface="Wingdings" panose="020B0604020202020204" pitchFamily="34" charset="0"/>
              <a:buChar char="Ø"/>
            </a:pPr>
            <a:r>
              <a:rPr lang="en-US">
                <a:latin typeface="Avenir Next LT Pro"/>
              </a:rPr>
              <a:t>Dedicated Quality and Sensory Testing areas</a:t>
            </a:r>
          </a:p>
          <a:p>
            <a:pPr marL="342900">
              <a:lnSpc>
                <a:spcPct val="150000"/>
              </a:lnSpc>
              <a:buFont typeface="Wingdings" panose="020B0604020202020204" pitchFamily="34" charset="0"/>
              <a:buChar char="Ø"/>
            </a:pPr>
            <a:r>
              <a:rPr lang="en-US">
                <a:latin typeface="Avenir Next LT Pro"/>
              </a:rPr>
              <a:t>New Dining Room /Presentation Area</a:t>
            </a:r>
          </a:p>
          <a:p>
            <a:pPr marL="342900">
              <a:lnSpc>
                <a:spcPct val="150000"/>
              </a:lnSpc>
              <a:buFont typeface="Wingdings" panose="020B0604020202020204" pitchFamily="34" charset="0"/>
              <a:buChar char="Ø"/>
            </a:pPr>
            <a:r>
              <a:rPr lang="en-US">
                <a:latin typeface="Avenir Next LT Pro"/>
              </a:rPr>
              <a:t>Expanded Culinary Kitchen area and cooking</a:t>
            </a:r>
          </a:p>
          <a:p>
            <a:pPr marL="342900">
              <a:lnSpc>
                <a:spcPct val="150000"/>
              </a:lnSpc>
              <a:buFont typeface="Wingdings" panose="020B0604020202020204" pitchFamily="34" charset="0"/>
              <a:buChar char="Ø"/>
            </a:pPr>
            <a:r>
              <a:rPr lang="en-US">
                <a:latin typeface="Avenir Next LT Pro"/>
              </a:rPr>
              <a:t>New Tasting Rooms to use with Vendors</a:t>
            </a:r>
            <a:endParaRPr lang="en-US"/>
          </a:p>
          <a:p>
            <a:pPr>
              <a:lnSpc>
                <a:spcPct val="150000"/>
              </a:lnSpc>
            </a:pPr>
            <a:endParaRPr lang="en-US">
              <a:latin typeface="Avenir Next LT Pro"/>
            </a:endParaRPr>
          </a:p>
          <a:p>
            <a:pPr algn="ctr">
              <a:lnSpc>
                <a:spcPct val="150000"/>
              </a:lnSpc>
            </a:pPr>
            <a:r>
              <a:rPr lang="en-US">
                <a:latin typeface="Avenir Next LT Pro"/>
              </a:rPr>
              <a:t>Fit for Future Facility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endParaRPr lang="en-US"/>
          </a:p>
          <a:p>
            <a:pPr marL="342900" indent="-342900">
              <a:buFont typeface="Wingdings" panose="020B0604020202020204" pitchFamily="34" charset="0"/>
              <a:buChar char="Ø"/>
            </a:pPr>
            <a:endParaRPr lang="en-US"/>
          </a:p>
        </p:txBody>
      </p:sp>
      <p:sp>
        <p:nvSpPr>
          <p:cNvPr id="5" name="Arrow: Down 4">
            <a:extLst>
              <a:ext uri="{FF2B5EF4-FFF2-40B4-BE49-F238E27FC236}">
                <a16:creationId xmlns:a16="http://schemas.microsoft.com/office/drawing/2014/main" id="{BB3053C9-C977-38C1-B83E-3B534D44E91E}"/>
              </a:ext>
            </a:extLst>
          </p:cNvPr>
          <p:cNvSpPr/>
          <p:nvPr/>
        </p:nvSpPr>
        <p:spPr>
          <a:xfrm>
            <a:off x="5798039" y="4314744"/>
            <a:ext cx="201897" cy="586153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0605106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68F70E76-07C1-7345-EC98-52E7521E9154}"/>
              </a:ext>
            </a:extLst>
          </p:cNvPr>
          <p:cNvSpPr txBox="1">
            <a:spLocks/>
          </p:cNvSpPr>
          <p:nvPr/>
        </p:nvSpPr>
        <p:spPr>
          <a:xfrm>
            <a:off x="163784" y="79512"/>
            <a:ext cx="10307789" cy="47625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>
                <a:solidFill>
                  <a:srgbClr val="FFFFFF"/>
                </a:solidFill>
                <a:latin typeface="Avenir Next LT Pro"/>
              </a:rPr>
              <a:t>Conceptual Layout of new Tasting Areas replacing OK Room</a:t>
            </a:r>
            <a:endParaRPr lang="en-US" dirty="0">
              <a:solidFill>
                <a:srgbClr val="FFFFFF"/>
              </a:solidFill>
              <a:latin typeface="Calibri" panose="020F0502020204030204"/>
              <a:cs typeface="Calibri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3647464-7F93-746C-CE5E-72646B56D4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69473" y="555762"/>
            <a:ext cx="4225695" cy="6302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2353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68F70E76-07C1-7345-EC98-52E7521E9154}"/>
              </a:ext>
            </a:extLst>
          </p:cNvPr>
          <p:cNvSpPr txBox="1">
            <a:spLocks/>
          </p:cNvSpPr>
          <p:nvPr/>
        </p:nvSpPr>
        <p:spPr>
          <a:xfrm>
            <a:off x="163784" y="79512"/>
            <a:ext cx="10821208" cy="47625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>
                <a:solidFill>
                  <a:srgbClr val="FFFFFF"/>
                </a:solidFill>
                <a:latin typeface="Avenir Next LT Pro"/>
              </a:rPr>
              <a:t>Conceptual Layout of new Sensory; Kitchen &amp; new Break Room</a:t>
            </a:r>
            <a:endParaRPr lang="en-US" dirty="0">
              <a:solidFill>
                <a:srgbClr val="FFFFFF"/>
              </a:solidFill>
              <a:latin typeface="Calibri" panose="020F0502020204030204"/>
              <a:cs typeface="Calibri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2263966-4DF3-04A1-52EE-43BDDB87E4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83985" y="501226"/>
            <a:ext cx="6756798" cy="6356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5108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16B51F4-A46C-4838-95F3-F0E1C4C19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5435" y="926708"/>
            <a:ext cx="8794113" cy="288541"/>
          </a:xfrm>
        </p:spPr>
        <p:txBody>
          <a:bodyPr/>
          <a:lstStyle/>
          <a:p>
            <a:r>
              <a:rPr lang="en-US" sz="1950" b="1">
                <a:solidFill>
                  <a:schemeClr val="bg1"/>
                </a:solidFill>
                <a:latin typeface="Avenir Next LT Pro" panose="020B0504020202020204" pitchFamily="34" charset="0"/>
                <a:ea typeface="+mn-ea"/>
                <a:cs typeface="+mn-cs"/>
              </a:rPr>
              <a:t>Detailed Layout</a:t>
            </a:r>
            <a:endParaRPr lang="en-US" sz="1950" b="1">
              <a:latin typeface="Avenir Next LT Pro" panose="020B0504020202020204" pitchFamily="34" charset="0"/>
            </a:endParaRPr>
          </a:p>
        </p:txBody>
      </p:sp>
      <p:pic>
        <p:nvPicPr>
          <p:cNvPr id="32" name="Picture 31" descr="Diagram, engineering drawing&#10;&#10;Description automatically generated">
            <a:extLst>
              <a:ext uri="{FF2B5EF4-FFF2-40B4-BE49-F238E27FC236}">
                <a16:creationId xmlns:a16="http://schemas.microsoft.com/office/drawing/2014/main" id="{CF18A364-1A69-DB50-657E-DF42BD7958F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2300" t="44444" r="22159" b="4298"/>
          <a:stretch/>
        </p:blipFill>
        <p:spPr>
          <a:xfrm>
            <a:off x="1886377" y="893298"/>
            <a:ext cx="8667555" cy="5037997"/>
          </a:xfrm>
          <a:prstGeom prst="rect">
            <a:avLst/>
          </a:prstGeom>
        </p:spPr>
      </p:pic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525920D8-82F9-3044-13E8-7548D0A299E3}"/>
              </a:ext>
            </a:extLst>
          </p:cNvPr>
          <p:cNvSpPr/>
          <p:nvPr/>
        </p:nvSpPr>
        <p:spPr>
          <a:xfrm>
            <a:off x="1641513" y="1757565"/>
            <a:ext cx="1123545" cy="420254"/>
          </a:xfrm>
          <a:prstGeom prst="roundRect">
            <a:avLst/>
          </a:prstGeom>
          <a:solidFill>
            <a:schemeClr val="accent1"/>
          </a:solidFill>
          <a:ln w="38100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b="1">
                <a:solidFill>
                  <a:srgbClr val="FFFFFF"/>
                </a:solidFill>
                <a:latin typeface="Avenir Next LT Pro" panose="020B0504020202020204" pitchFamily="34" charset="0"/>
              </a:rPr>
              <a:t>Sensory Kitchen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22DEA7B-7F8B-1DAC-3A1F-A12582BC6F17}"/>
              </a:ext>
            </a:extLst>
          </p:cNvPr>
          <p:cNvSpPr/>
          <p:nvPr/>
        </p:nvSpPr>
        <p:spPr>
          <a:xfrm>
            <a:off x="1700128" y="3758853"/>
            <a:ext cx="1123545" cy="420254"/>
          </a:xfrm>
          <a:prstGeom prst="roundRect">
            <a:avLst/>
          </a:prstGeom>
          <a:solidFill>
            <a:schemeClr val="accent1"/>
          </a:solidFill>
          <a:ln w="38100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b="1">
                <a:solidFill>
                  <a:srgbClr val="FFFFFF"/>
                </a:solidFill>
                <a:latin typeface="Avenir Next LT Pro" panose="020B0504020202020204" pitchFamily="34" charset="0"/>
              </a:rPr>
              <a:t>Presentation Dining Room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343B21C6-9D4F-4C33-B769-2A0BD153258D}"/>
              </a:ext>
            </a:extLst>
          </p:cNvPr>
          <p:cNvSpPr/>
          <p:nvPr/>
        </p:nvSpPr>
        <p:spPr>
          <a:xfrm>
            <a:off x="9638776" y="4227776"/>
            <a:ext cx="957793" cy="517946"/>
          </a:xfrm>
          <a:prstGeom prst="roundRect">
            <a:avLst/>
          </a:prstGeom>
          <a:solidFill>
            <a:schemeClr val="accent1"/>
          </a:solidFill>
          <a:ln w="38100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b="1">
                <a:solidFill>
                  <a:srgbClr val="FFFFFF"/>
                </a:solidFill>
                <a:latin typeface="Avenir Next LT Pro" panose="020B0504020202020204" pitchFamily="34" charset="0"/>
              </a:rPr>
              <a:t>TM Breakroo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A614A0-25CD-8C46-22A2-114A966B404A}"/>
              </a:ext>
            </a:extLst>
          </p:cNvPr>
          <p:cNvSpPr txBox="1">
            <a:spLocks/>
          </p:cNvSpPr>
          <p:nvPr/>
        </p:nvSpPr>
        <p:spPr>
          <a:xfrm>
            <a:off x="1640371" y="79512"/>
            <a:ext cx="8911259" cy="47625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>
                <a:solidFill>
                  <a:srgbClr val="FFFFFF"/>
                </a:solidFill>
                <a:latin typeface="Avenir Next LT Pro"/>
              </a:rPr>
              <a:t>Conceptual Layout</a:t>
            </a:r>
            <a:endParaRPr lang="en-US">
              <a:solidFill>
                <a:srgbClr val="FFFFFF"/>
              </a:solidFill>
              <a:latin typeface="Calibri" panose="020F0502020204030204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221806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16B51F4-A46C-4838-95F3-F0E1C4C19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5435" y="926708"/>
            <a:ext cx="8794113" cy="288541"/>
          </a:xfrm>
        </p:spPr>
        <p:txBody>
          <a:bodyPr/>
          <a:lstStyle/>
          <a:p>
            <a:r>
              <a:rPr lang="en-US" sz="1950" b="1">
                <a:solidFill>
                  <a:schemeClr val="bg1"/>
                </a:solidFill>
                <a:latin typeface="Avenir Next LT Pro" panose="020B0504020202020204" pitchFamily="34" charset="0"/>
                <a:ea typeface="+mn-ea"/>
                <a:cs typeface="+mn-cs"/>
              </a:rPr>
              <a:t>3D Model Images – New Sensory Kitchen </a:t>
            </a:r>
            <a:endParaRPr lang="en-US" sz="1950" b="1">
              <a:latin typeface="Avenir Next LT Pro" panose="020B05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97CB6BE-6171-C6DF-2B6E-D0B840EDF4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3042" y="598392"/>
            <a:ext cx="9146292" cy="522131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B18F56B-2137-F2E9-2344-4D9D35C45310}"/>
              </a:ext>
            </a:extLst>
          </p:cNvPr>
          <p:cNvGrpSpPr/>
          <p:nvPr/>
        </p:nvGrpSpPr>
        <p:grpSpPr>
          <a:xfrm>
            <a:off x="1579235" y="5077816"/>
            <a:ext cx="2063555" cy="1607768"/>
            <a:chOff x="5603288" y="4800028"/>
            <a:chExt cx="2853706" cy="1836176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BA6548D6-7B1D-C993-F9A3-B71CCADFB367}"/>
                </a:ext>
              </a:extLst>
            </p:cNvPr>
            <p:cNvSpPr/>
            <p:nvPr/>
          </p:nvSpPr>
          <p:spPr>
            <a:xfrm>
              <a:off x="5603288" y="4800028"/>
              <a:ext cx="2853706" cy="1836176"/>
            </a:xfrm>
            <a:prstGeom prst="roundRect">
              <a:avLst/>
            </a:prstGeom>
            <a:solidFill>
              <a:schemeClr val="accent2">
                <a:alpha val="10196"/>
              </a:scheme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050">
                <a:solidFill>
                  <a:srgbClr val="FFFFFF"/>
                </a:solidFill>
                <a:latin typeface="Avenir Next LT Pro" panose="020B0504020202020204" pitchFamily="34" charset="0"/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5F57966C-5CC1-540D-8AE1-44E6DEB78872}"/>
                </a:ext>
              </a:extLst>
            </p:cNvPr>
            <p:cNvSpPr/>
            <p:nvPr/>
          </p:nvSpPr>
          <p:spPr>
            <a:xfrm>
              <a:off x="5723383" y="4886655"/>
              <a:ext cx="2537990" cy="1647417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050">
                <a:solidFill>
                  <a:srgbClr val="FFFFFF"/>
                </a:solidFill>
                <a:latin typeface="Avenir Next LT Pro" panose="020B0504020202020204" pitchFamily="34" charset="0"/>
              </a:endParaRPr>
            </a:p>
          </p:txBody>
        </p:sp>
        <p:sp>
          <p:nvSpPr>
            <p:cNvPr id="9" name="Google Shape;208;p19">
              <a:extLst>
                <a:ext uri="{FF2B5EF4-FFF2-40B4-BE49-F238E27FC236}">
                  <a16:creationId xmlns:a16="http://schemas.microsoft.com/office/drawing/2014/main" id="{70A13399-B258-A36D-B93D-F6BD8E4782F5}"/>
                </a:ext>
              </a:extLst>
            </p:cNvPr>
            <p:cNvSpPr/>
            <p:nvPr/>
          </p:nvSpPr>
          <p:spPr>
            <a:xfrm>
              <a:off x="5804512" y="5053401"/>
              <a:ext cx="2288373" cy="136645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7141" tIns="28562" rIns="0" bIns="28562" anchor="t" anchorCtr="0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05" algn="ctr">
                <a:buClr>
                  <a:srgbClr val="191919"/>
                </a:buClr>
                <a:buSzPts val="1100"/>
              </a:pPr>
              <a:r>
                <a:rPr lang="en" sz="1350" b="1">
                  <a:solidFill>
                    <a:srgbClr val="000000"/>
                  </a:solidFill>
                  <a:latin typeface="Avenir Next LT Pro"/>
                </a:rPr>
                <a:t>Key Features: </a:t>
              </a:r>
              <a:endParaRPr lang="en" sz="1050" b="1">
                <a:solidFill>
                  <a:srgbClr val="000000"/>
                </a:solidFill>
                <a:latin typeface="Avenir Next LT Pro"/>
              </a:endParaRPr>
            </a:p>
            <a:p>
              <a:pPr marL="216218" indent="-214313">
                <a:buClr>
                  <a:srgbClr val="191919"/>
                </a:buClr>
                <a:buSzPts val="1100"/>
                <a:buFont typeface="Arial"/>
                <a:buChar char="•"/>
              </a:pPr>
              <a:r>
                <a:rPr lang="en" sz="1050">
                  <a:solidFill>
                    <a:srgbClr val="000000"/>
                  </a:solidFill>
                  <a:latin typeface="Avenir Next LT Pro"/>
                </a:rPr>
                <a:t>Consumer appliances</a:t>
              </a:r>
            </a:p>
            <a:p>
              <a:pPr marL="216218" indent="-214313">
                <a:buClr>
                  <a:srgbClr val="191919"/>
                </a:buClr>
                <a:buSzPts val="1100"/>
                <a:buFont typeface="Arial"/>
                <a:buChar char="•"/>
              </a:pPr>
              <a:r>
                <a:rPr lang="en" sz="1050">
                  <a:solidFill>
                    <a:srgbClr val="000000"/>
                  </a:solidFill>
                  <a:latin typeface="Avenir Next LT Pro"/>
                  <a:cs typeface="Calibri"/>
                </a:rPr>
                <a:t>Increased supplies storage</a:t>
              </a:r>
            </a:p>
            <a:p>
              <a:pPr marL="216218" indent="-214313">
                <a:buClr>
                  <a:srgbClr val="191919"/>
                </a:buClr>
                <a:buSzPts val="1100"/>
                <a:buFont typeface="Arial"/>
                <a:buChar char="•"/>
              </a:pPr>
              <a:r>
                <a:rPr lang="en" sz="1050">
                  <a:solidFill>
                    <a:srgbClr val="000000"/>
                  </a:solidFill>
                  <a:latin typeface="Avenir Next LT Pro"/>
                  <a:cs typeface="Calibri"/>
                </a:rPr>
                <a:t>Chill/frozen </a:t>
              </a:r>
            </a:p>
            <a:p>
              <a:pPr marL="216218" indent="-214313">
                <a:buClr>
                  <a:srgbClr val="191919"/>
                </a:buClr>
                <a:buSzPts val="1100"/>
                <a:buFont typeface="Arial"/>
                <a:buChar char="•"/>
              </a:pPr>
              <a:r>
                <a:rPr lang="en" sz="1050">
                  <a:solidFill>
                    <a:srgbClr val="000000"/>
                  </a:solidFill>
                  <a:latin typeface="Avenir Next LT Pro"/>
                  <a:cs typeface="Calibri"/>
                </a:rPr>
                <a:t>Enhanced Lighting</a:t>
              </a:r>
            </a:p>
            <a:p>
              <a:pPr marL="216218" indent="-214313">
                <a:buClr>
                  <a:srgbClr val="191919"/>
                </a:buClr>
                <a:buSzPts val="1100"/>
                <a:buFont typeface="Arial"/>
                <a:buChar char="•"/>
              </a:pPr>
              <a:r>
                <a:rPr lang="en" sz="1050">
                  <a:solidFill>
                    <a:srgbClr val="000000"/>
                  </a:solidFill>
                  <a:latin typeface="Avenir Next LT Pro"/>
                  <a:cs typeface="Calibri"/>
                </a:rPr>
                <a:t>10-15 TM’s capacity</a:t>
              </a:r>
            </a:p>
            <a:p>
              <a:pPr marL="216218" indent="-214313">
                <a:buClr>
                  <a:srgbClr val="191919"/>
                </a:buClr>
                <a:buSzPts val="1100"/>
                <a:buFont typeface="Arial"/>
                <a:buChar char="•"/>
              </a:pPr>
              <a:endParaRPr lang="en" sz="1050">
                <a:solidFill>
                  <a:srgbClr val="000000"/>
                </a:solidFill>
                <a:latin typeface="Avenir Next LT Pro"/>
                <a:cs typeface="Calibri"/>
              </a:endParaRPr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00588E-39A4-0EC7-CE63-DB7180D11033}"/>
              </a:ext>
            </a:extLst>
          </p:cNvPr>
          <p:cNvSpPr txBox="1">
            <a:spLocks/>
          </p:cNvSpPr>
          <p:nvPr/>
        </p:nvSpPr>
        <p:spPr>
          <a:xfrm>
            <a:off x="1640371" y="79512"/>
            <a:ext cx="8911259" cy="47625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>
                <a:solidFill>
                  <a:srgbClr val="FFFFFF"/>
                </a:solidFill>
                <a:latin typeface="Avenir Next LT Pro"/>
              </a:rPr>
              <a:t>Conceptual Layout</a:t>
            </a:r>
            <a:endParaRPr lang="en-US">
              <a:solidFill>
                <a:srgbClr val="FFFFFF"/>
              </a:solidFill>
              <a:latin typeface="Calibri" panose="020F0502020204030204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854227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16B51F4-A46C-4838-95F3-F0E1C4C19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5435" y="926708"/>
            <a:ext cx="8794113" cy="288541"/>
          </a:xfrm>
        </p:spPr>
        <p:txBody>
          <a:bodyPr/>
          <a:lstStyle/>
          <a:p>
            <a:r>
              <a:rPr lang="en-US" sz="1950" b="1">
                <a:solidFill>
                  <a:schemeClr val="bg1"/>
                </a:solidFill>
                <a:latin typeface="Avenir Next LT Pro" panose="020B0504020202020204" pitchFamily="34" charset="0"/>
                <a:ea typeface="+mn-ea"/>
                <a:cs typeface="+mn-cs"/>
              </a:rPr>
              <a:t>3D Model Images - Presentation Dining Room</a:t>
            </a:r>
            <a:endParaRPr lang="en-US" sz="1950" b="1">
              <a:latin typeface="Avenir Next LT Pro" panose="020B05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8D90358-C2D3-2576-52AE-6950D6BD11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4415" y="873088"/>
            <a:ext cx="9088367" cy="5054707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7E509866-A383-68EB-C6E2-1B572B362B11}"/>
              </a:ext>
            </a:extLst>
          </p:cNvPr>
          <p:cNvSpPr txBox="1">
            <a:spLocks/>
          </p:cNvSpPr>
          <p:nvPr/>
        </p:nvSpPr>
        <p:spPr>
          <a:xfrm>
            <a:off x="1640371" y="79512"/>
            <a:ext cx="8911259" cy="47625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>
                <a:solidFill>
                  <a:srgbClr val="FFFFFF"/>
                </a:solidFill>
                <a:latin typeface="Avenir Next LT Pro"/>
              </a:rPr>
              <a:t>Conceptual Layout</a:t>
            </a:r>
            <a:endParaRPr lang="en-US">
              <a:solidFill>
                <a:srgbClr val="FFFFFF"/>
              </a:solidFill>
              <a:latin typeface="Calibri" panose="020F0502020204030204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463611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16B51F4-A46C-4838-95F3-F0E1C4C19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5435" y="926708"/>
            <a:ext cx="8794113" cy="288541"/>
          </a:xfrm>
        </p:spPr>
        <p:txBody>
          <a:bodyPr/>
          <a:lstStyle/>
          <a:p>
            <a:r>
              <a:rPr lang="en-US" sz="1950" b="1">
                <a:solidFill>
                  <a:schemeClr val="bg1"/>
                </a:solidFill>
                <a:latin typeface="Avenir Next LT Pro" panose="020B0504020202020204" pitchFamily="34" charset="0"/>
                <a:ea typeface="+mn-ea"/>
                <a:cs typeface="+mn-cs"/>
              </a:rPr>
              <a:t>3D Model Images - New TM Breakroom</a:t>
            </a:r>
            <a:endParaRPr lang="en-US" sz="1950" b="1">
              <a:latin typeface="Avenir Next LT Pro" panose="020B05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8BD6D62-9193-ADFC-5525-FD936FA32A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01888" y="1218905"/>
            <a:ext cx="9129611" cy="4912918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1D4A6AC-40DB-411C-F6FF-966A03395B43}"/>
              </a:ext>
            </a:extLst>
          </p:cNvPr>
          <p:cNvSpPr txBox="1">
            <a:spLocks/>
          </p:cNvSpPr>
          <p:nvPr/>
        </p:nvSpPr>
        <p:spPr>
          <a:xfrm>
            <a:off x="1640371" y="79512"/>
            <a:ext cx="8911259" cy="47625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>
                <a:solidFill>
                  <a:srgbClr val="FFFFFF"/>
                </a:solidFill>
                <a:latin typeface="Avenir Next LT Pro"/>
              </a:rPr>
              <a:t>Conceptual Layout</a:t>
            </a:r>
            <a:endParaRPr lang="en-US">
              <a:solidFill>
                <a:srgbClr val="FFFFFF"/>
              </a:solidFill>
              <a:latin typeface="Calibri" panose="020F0502020204030204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459557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9271D21-BD73-92B0-7E27-708AC7A65F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948F4189-209F-5B4D-9202-FE23054D3488}" type="slidenum">
              <a:rPr lang="en-US">
                <a:solidFill>
                  <a:srgbClr val="000000">
                    <a:tint val="75000"/>
                  </a:srgbClr>
                </a:solidFill>
              </a:rPr>
              <a:pPr defTabSz="457200"/>
              <a:t>9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521851-2F3F-C78E-6469-2B069532C09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91440" tIns="45720" rIns="91440" bIns="45720" anchor="t"/>
          <a:lstStyle/>
          <a:p>
            <a:r>
              <a:rPr lang="en-US" dirty="0">
                <a:latin typeface="Avenir Next LT Pro"/>
              </a:rPr>
              <a:t>Project Timeline and Key Tasks</a:t>
            </a:r>
            <a:endParaRPr lang="en-US" dirty="0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8A7B040E-5370-C9E4-040F-88A2254FB4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0082581"/>
              </p:ext>
            </p:extLst>
          </p:nvPr>
        </p:nvGraphicFramePr>
        <p:xfrm>
          <a:off x="2242390" y="710426"/>
          <a:ext cx="6789574" cy="56277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68205">
                  <a:extLst>
                    <a:ext uri="{9D8B030D-6E8A-4147-A177-3AD203B41FA5}">
                      <a16:colId xmlns:a16="http://schemas.microsoft.com/office/drawing/2014/main" val="3401684006"/>
                    </a:ext>
                  </a:extLst>
                </a:gridCol>
                <a:gridCol w="2621369">
                  <a:extLst>
                    <a:ext uri="{9D8B030D-6E8A-4147-A177-3AD203B41FA5}">
                      <a16:colId xmlns:a16="http://schemas.microsoft.com/office/drawing/2014/main" val="4004689823"/>
                    </a:ext>
                  </a:extLst>
                </a:gridCol>
              </a:tblGrid>
              <a:tr h="485477">
                <a:tc>
                  <a:txBody>
                    <a:bodyPr/>
                    <a:lstStyle/>
                    <a:p>
                      <a:r>
                        <a:rPr lang="en-US"/>
                        <a:t>Task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Tim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1520789"/>
                  </a:ext>
                </a:extLst>
              </a:tr>
              <a:tr h="485477">
                <a:tc>
                  <a:txBody>
                    <a:bodyPr/>
                    <a:lstStyle/>
                    <a:p>
                      <a:r>
                        <a:rPr lang="en-US"/>
                        <a:t>Award Contract to final G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mple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3002463"/>
                  </a:ext>
                </a:extLst>
              </a:tr>
              <a:tr h="485477">
                <a:tc>
                  <a:txBody>
                    <a:bodyPr/>
                    <a:lstStyle/>
                    <a:p>
                      <a:r>
                        <a:rPr lang="en-US" dirty="0"/>
                        <a:t>Overall Construction Timel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Aug 28 – Dec 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4906192"/>
                  </a:ext>
                </a:extLst>
              </a:tr>
              <a:tr h="485477">
                <a:tc>
                  <a:txBody>
                    <a:bodyPr/>
                    <a:lstStyle/>
                    <a:p>
                      <a:pPr marL="285750" indent="-285750">
                        <a:buFont typeface="Calibri"/>
                        <a:buChar char="-"/>
                      </a:pPr>
                      <a:r>
                        <a:rPr lang="en-US" dirty="0"/>
                        <a:t>OK Room Construction (Phase 1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/>
                        <a:t>Aug 28 – Sep 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9914935"/>
                  </a:ext>
                </a:extLst>
              </a:tr>
              <a:tr h="485477">
                <a:tc>
                  <a:txBody>
                    <a:bodyPr/>
                    <a:lstStyle/>
                    <a:p>
                      <a:pPr marL="742950" lvl="1" indent="-285750">
                        <a:buFont typeface="Calibri"/>
                        <a:buChar char="-"/>
                      </a:pPr>
                      <a:r>
                        <a:rPr lang="en-US" dirty="0"/>
                        <a:t>No bookings in OK Ro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1"/>
                      <a:r>
                        <a:rPr lang="en-US" dirty="0"/>
                        <a:t>Aug 24</a:t>
                      </a:r>
                      <a:r>
                        <a:rPr lang="en-US" baseline="30000" dirty="0"/>
                        <a:t>th</a:t>
                      </a:r>
                      <a:r>
                        <a:rPr lang="en-US" dirty="0"/>
                        <a:t> onwar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7217891"/>
                  </a:ext>
                </a:extLst>
              </a:tr>
              <a:tr h="485477">
                <a:tc>
                  <a:txBody>
                    <a:bodyPr/>
                    <a:lstStyle/>
                    <a:p>
                      <a:pPr marL="285750" indent="-285750">
                        <a:buFont typeface="Calibri"/>
                        <a:buChar char="-"/>
                      </a:pPr>
                      <a:r>
                        <a:rPr lang="en-US" dirty="0"/>
                        <a:t>Kitchen and Sensory Areas Construction (Phase 2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ep 18 – Dec 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18102550"/>
                  </a:ext>
                </a:extLst>
              </a:tr>
              <a:tr h="485477">
                <a:tc>
                  <a:txBody>
                    <a:bodyPr/>
                    <a:lstStyle/>
                    <a:p>
                      <a:pPr marL="742950" lvl="1" indent="-285750">
                        <a:buFont typeface="Calibri"/>
                        <a:buChar char="-"/>
                      </a:pPr>
                      <a:r>
                        <a:rPr lang="en-US" dirty="0"/>
                        <a:t>Clean up of Culinary; 3</a:t>
                      </a:r>
                      <a:r>
                        <a:rPr lang="en-US" baseline="30000" dirty="0"/>
                        <a:t>rd</a:t>
                      </a:r>
                      <a:r>
                        <a:rPr lang="en-US" dirty="0"/>
                        <a:t> floor breakroom and storage are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1"/>
                      <a:r>
                        <a:rPr lang="en-US" dirty="0"/>
                        <a:t>Week of Sep 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1078155"/>
                  </a:ext>
                </a:extLst>
              </a:tr>
              <a:tr h="485477">
                <a:tc>
                  <a:txBody>
                    <a:bodyPr/>
                    <a:lstStyle/>
                    <a:p>
                      <a:pPr marL="742950" lvl="1" indent="-285750">
                        <a:buFont typeface="Calibri"/>
                        <a:buChar char="-"/>
                      </a:pPr>
                      <a:r>
                        <a:rPr lang="en-US" dirty="0"/>
                        <a:t>Galley Kitchen and OK Tasting Room South (Culinary Use only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1"/>
                      <a:r>
                        <a:rPr lang="en-US" dirty="0"/>
                        <a:t>Sep 15 – Dec 3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2299437"/>
                  </a:ext>
                </a:extLst>
              </a:tr>
              <a:tr h="485477">
                <a:tc>
                  <a:txBody>
                    <a:bodyPr/>
                    <a:lstStyle/>
                    <a:p>
                      <a:pPr marL="7429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Calibri"/>
                        <a:buChar char="-"/>
                        <a:tabLst/>
                        <a:defRPr/>
                      </a:pPr>
                      <a:r>
                        <a:rPr lang="en-US" dirty="0"/>
                        <a:t>Merchants use OK Tasting Room North for product stor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1"/>
                      <a:r>
                        <a:rPr lang="en-US" dirty="0"/>
                        <a:t>Sep 15 –Dec 3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8202669"/>
                  </a:ext>
                </a:extLst>
              </a:tr>
              <a:tr h="485477">
                <a:tc>
                  <a:txBody>
                    <a:bodyPr/>
                    <a:lstStyle/>
                    <a:p>
                      <a:pPr marL="285750" indent="-285750">
                        <a:buFont typeface="Calibri"/>
                        <a:buChar char="-"/>
                      </a:pPr>
                      <a:r>
                        <a:rPr lang="en-US" dirty="0"/>
                        <a:t>New Areas available for general booking / u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Jan 1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39014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0221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PJCNSd0GtjzxqLr0TqEA"/>
</p:tagLst>
</file>

<file path=ppt/theme/theme1.xml><?xml version="1.0" encoding="utf-8"?>
<a:theme xmlns:a="http://schemas.openxmlformats.org/drawingml/2006/main" name="Blank Slide - Green">
  <a:themeElements>
    <a:clrScheme name="Master Brand 8">
      <a:dk1>
        <a:srgbClr val="000000"/>
      </a:dk1>
      <a:lt1>
        <a:srgbClr val="FFFFFF"/>
      </a:lt1>
      <a:dk2>
        <a:srgbClr val="929292"/>
      </a:dk2>
      <a:lt2>
        <a:srgbClr val="E7E6E6"/>
      </a:lt2>
      <a:accent1>
        <a:srgbClr val="2E783B"/>
      </a:accent1>
      <a:accent2>
        <a:srgbClr val="69BD45"/>
      </a:accent2>
      <a:accent3>
        <a:srgbClr val="929292"/>
      </a:accent3>
      <a:accent4>
        <a:srgbClr val="D5D5D5"/>
      </a:accent4>
      <a:accent5>
        <a:srgbClr val="FEFFFF"/>
      </a:accent5>
      <a:accent6>
        <a:srgbClr val="FEFFFF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Single Line Slide">
  <a:themeElements>
    <a:clrScheme name="Master Brand 5">
      <a:dk1>
        <a:srgbClr val="000000"/>
      </a:dk1>
      <a:lt1>
        <a:srgbClr val="FFFFFF"/>
      </a:lt1>
      <a:dk2>
        <a:srgbClr val="929292"/>
      </a:dk2>
      <a:lt2>
        <a:srgbClr val="E7E6E6"/>
      </a:lt2>
      <a:accent1>
        <a:srgbClr val="2E783B"/>
      </a:accent1>
      <a:accent2>
        <a:srgbClr val="69BD45"/>
      </a:accent2>
      <a:accent3>
        <a:srgbClr val="929292"/>
      </a:accent3>
      <a:accent4>
        <a:srgbClr val="D5D5D5"/>
      </a:accent4>
      <a:accent5>
        <a:srgbClr val="FEFFFF"/>
      </a:accent5>
      <a:accent6>
        <a:srgbClr val="FEFFFF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Single Line Slide">
  <a:themeElements>
    <a:clrScheme name="Custom 2">
      <a:dk1>
        <a:srgbClr val="000000"/>
      </a:dk1>
      <a:lt1>
        <a:srgbClr val="FFFFFF"/>
      </a:lt1>
      <a:dk2>
        <a:srgbClr val="929292"/>
      </a:dk2>
      <a:lt2>
        <a:srgbClr val="E7E6E6"/>
      </a:lt2>
      <a:accent1>
        <a:srgbClr val="2E783B"/>
      </a:accent1>
      <a:accent2>
        <a:srgbClr val="69BD45"/>
      </a:accent2>
      <a:accent3>
        <a:srgbClr val="929292"/>
      </a:accent3>
      <a:accent4>
        <a:srgbClr val="D5D5D5"/>
      </a:accent4>
      <a:accent5>
        <a:srgbClr val="FEFFFF"/>
      </a:accent5>
      <a:accent6>
        <a:srgbClr val="FEFFFF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7</TotalTime>
  <Words>319</Words>
  <Application>Microsoft Office PowerPoint</Application>
  <PresentationFormat>Widescreen</PresentationFormat>
  <Paragraphs>65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4" baseType="lpstr">
      <vt:lpstr>Arial</vt:lpstr>
      <vt:lpstr>Avenir Book</vt:lpstr>
      <vt:lpstr>Avenir Next LT Pro</vt:lpstr>
      <vt:lpstr>Calibri</vt:lpstr>
      <vt:lpstr>Calibri Light</vt:lpstr>
      <vt:lpstr>Century Gothic</vt:lpstr>
      <vt:lpstr>Georgia Pro Semibold</vt:lpstr>
      <vt:lpstr>Gill Sans</vt:lpstr>
      <vt:lpstr>Gill Sans MT</vt:lpstr>
      <vt:lpstr>Wingdings</vt:lpstr>
      <vt:lpstr>Blank Slide - Green</vt:lpstr>
      <vt:lpstr>2_Single Line Slide</vt:lpstr>
      <vt:lpstr>Single Line Slide</vt:lpstr>
      <vt:lpstr>think-cell Slide</vt:lpstr>
      <vt:lpstr> New Test Kitchen</vt:lpstr>
      <vt:lpstr>PowerPoint Presentation</vt:lpstr>
      <vt:lpstr>PowerPoint Presentation</vt:lpstr>
      <vt:lpstr>PowerPoint Presentation</vt:lpstr>
      <vt:lpstr>Detailed Layout</vt:lpstr>
      <vt:lpstr>3D Model Images – New Sensory Kitchen </vt:lpstr>
      <vt:lpstr>3D Model Images - Presentation Dining Room</vt:lpstr>
      <vt:lpstr>3D Model Images - New TM Breakroom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icky Singh</dc:creator>
  <cp:lastModifiedBy>Ricky Singh</cp:lastModifiedBy>
  <cp:revision>2</cp:revision>
  <dcterms:created xsi:type="dcterms:W3CDTF">2023-08-09T21:42:29Z</dcterms:created>
  <dcterms:modified xsi:type="dcterms:W3CDTF">2023-08-28T22:53:24Z</dcterms:modified>
</cp:coreProperties>
</file>